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2" r:id="rId5"/>
    <p:sldMasterId id="2147483704" r:id="rId6"/>
  </p:sldMasterIdLst>
  <p:notesMasterIdLst>
    <p:notesMasterId r:id="rId19"/>
  </p:notesMasterIdLst>
  <p:handoutMasterIdLst>
    <p:handoutMasterId r:id="rId20"/>
  </p:handoutMasterIdLst>
  <p:sldIdLst>
    <p:sldId id="256" r:id="rId7"/>
    <p:sldId id="420" r:id="rId8"/>
    <p:sldId id="421" r:id="rId9"/>
    <p:sldId id="423" r:id="rId10"/>
    <p:sldId id="428" r:id="rId11"/>
    <p:sldId id="424" r:id="rId12"/>
    <p:sldId id="426" r:id="rId13"/>
    <p:sldId id="422" r:id="rId14"/>
    <p:sldId id="425" r:id="rId15"/>
    <p:sldId id="416" r:id="rId16"/>
    <p:sldId id="415" r:id="rId17"/>
    <p:sldId id="257" r:id="rId18"/>
  </p:sldIdLst>
  <p:sldSz cx="12192000" cy="6858000"/>
  <p:notesSz cx="7010400" cy="92964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ark, Ginger" initials="CG" lastIdx="1" clrIdx="0">
    <p:extLst>
      <p:ext uri="{19B8F6BF-5375-455C-9EA6-DF929625EA0E}">
        <p15:presenceInfo xmlns:p15="http://schemas.microsoft.com/office/powerpoint/2012/main" userId="S-1-5-21-296752856-1504535144-1563503735-58362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8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474" autoAdjust="0"/>
    <p:restoredTop sz="73605" autoAdjust="0"/>
  </p:normalViewPr>
  <p:slideViewPr>
    <p:cSldViewPr snapToGrid="0">
      <p:cViewPr varScale="1">
        <p:scale>
          <a:sx n="49" d="100"/>
          <a:sy n="49" d="100"/>
        </p:scale>
        <p:origin x="357" y="4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5592"/>
    </p:cViewPr>
  </p:sorterViewPr>
  <p:notesViewPr>
    <p:cSldViewPr snapToGrid="0">
      <p:cViewPr varScale="1">
        <p:scale>
          <a:sx n="86" d="100"/>
          <a:sy n="86" d="100"/>
        </p:scale>
        <p:origin x="382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E206F-5177-4595-853B-AFD4C81FA446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463624-917B-48E1-9F14-B9542E4D0D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937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D4AF287F-B808-44CE-BF5B-3DD8F3FE89D4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1BB1DC41-B48D-4D4C-A5CC-3DBC8850B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7214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B1DC41-B48D-4D4C-A5CC-3DBC8850BDC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667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B1DC41-B48D-4D4C-A5CC-3DBC8850BDC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762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no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5A0279-4271-0C4A-A510-EC71BD5BFF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6726" y="342902"/>
            <a:ext cx="11258551" cy="1241425"/>
          </a:xfrm>
        </p:spPr>
        <p:txBody>
          <a:bodyPr tIns="137160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512BBB34-0C92-BB4A-AC27-87BCDA2BE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6" y="1584326"/>
            <a:ext cx="7416799" cy="1132748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C413C7-A5C3-C440-BEAB-026A4F9049A9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52825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5/20/20</a:t>
            </a: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13CE3276-13B5-3E46-B586-9CB90C61E5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9AC084AC-CDBD-B94F-8D6E-9783F92A450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1987894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2E4A80-36C5-974E-B2A6-F7DE46DE69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6" y="1584327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75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354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199714B-714F-8249-B931-1BFAC99FB0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6" y="1584327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75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1584327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73125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1584327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6446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11258551" cy="4676776"/>
          </a:xfrm>
        </p:spPr>
        <p:txBody>
          <a:bodyPr rIns="4572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CD5F2E-8E58-A14B-B80C-9B6594482EB6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13">
            <a:extLst>
              <a:ext uri="{FF2B5EF4-FFF2-40B4-BE49-F238E27FC236}">
                <a16:creationId xmlns:a16="http://schemas.microsoft.com/office/drawing/2014/main" id="{A73E81F0-30EC-604C-95CA-DB8CC6CADA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/>
              <a:t>5/20/20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5AA9-2F43-3343-BA48-1CA2E6322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74878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38877" y="1584326"/>
            <a:ext cx="5497513" cy="46767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C4742D5-3A05-9045-B74A-D3F962B802D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5/20/20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3FE8545-7798-1641-AF94-65B0020EBC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B145867-33F4-7942-A468-63972ECBAD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1C0A9-E7F2-E043-948A-B1E2EA474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5F8FA7-0E8B-AC4B-9A04-27BD3889EBF9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033045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35671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08477" y="1584327"/>
            <a:ext cx="3575049" cy="46767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ADD0FD0-82F6-6249-86EF-808648B068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2452" y="1584324"/>
            <a:ext cx="3552825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CAEDB-ABB8-1842-AE19-7725B4CAB2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271D53-83D4-0142-88D2-21B34455C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38CA74-93B7-F445-8D0F-582527E50ADD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68464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7" y="1584326"/>
            <a:ext cx="5486399" cy="4365212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EE122B8-2BA6-D444-B9FC-8EE2551015AF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1976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7" y="1584329"/>
            <a:ext cx="5497513" cy="3747695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FC0A0-8890-FA4A-A265-675F16FD3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75" y="5332024"/>
            <a:ext cx="5486400" cy="929079"/>
          </a:xfrm>
        </p:spPr>
        <p:txBody>
          <a:bodyPr tIns="137160"/>
          <a:lstStyle>
            <a:lvl1pPr>
              <a:defRPr sz="900" b="1">
                <a:solidFill>
                  <a:schemeClr val="accent1"/>
                </a:solidFill>
              </a:defRPr>
            </a:lvl1pPr>
            <a:lvl2pPr>
              <a:defRPr sz="900"/>
            </a:lvl2pPr>
            <a:lvl3pPr marL="0" indent="0">
              <a:buFontTx/>
              <a:buNone/>
              <a:defRPr sz="900" b="1">
                <a:solidFill>
                  <a:schemeClr val="accent1"/>
                </a:solidFill>
              </a:defRPr>
            </a:lvl3pPr>
            <a:lvl4pPr marL="0" indent="0">
              <a:buFontTx/>
              <a:buNone/>
              <a:defRPr sz="900" b="1">
                <a:solidFill>
                  <a:schemeClr val="accent1"/>
                </a:solidFill>
              </a:defRPr>
            </a:lvl4pPr>
            <a:lvl5pPr marL="0" indent="0">
              <a:buFontTx/>
              <a:buNone/>
              <a:defRPr sz="900" b="1">
                <a:solidFill>
                  <a:schemeClr val="accent1"/>
                </a:solidFill>
              </a:defRPr>
            </a:lvl5pPr>
            <a:lvl6pPr marL="0" indent="0">
              <a:buFontTx/>
              <a:buNone/>
              <a:defRPr sz="900" b="1"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900" b="1">
                <a:solidFill>
                  <a:schemeClr val="accent1"/>
                </a:solidFill>
              </a:defRPr>
            </a:lvl7pPr>
            <a:lvl8pPr marL="0" indent="0">
              <a:buFontTx/>
              <a:buNone/>
              <a:defRPr sz="900" b="1">
                <a:solidFill>
                  <a:schemeClr val="accent1"/>
                </a:solidFill>
              </a:defRPr>
            </a:lvl8pPr>
            <a:lvl9pPr marL="0" indent="0">
              <a:buFontTx/>
              <a:buNone/>
              <a:defRPr sz="9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C830B4-E9C0-1844-9666-E44BDF9B6EF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283AC57-D239-4F44-A373-83E8AF1607A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FD62E05-6DF1-3642-9C7A-C5DD14FBD3A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36FCCE-0ED1-BB45-9AA8-E6ABE533D030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4627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D9A7A099-8FCD-F248-90AD-8AB09DA1ADC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27766" y="1584328"/>
            <a:ext cx="5497511" cy="4676775"/>
          </a:xfrm>
          <a:pattFill prst="pct10">
            <a:fgClr>
              <a:schemeClr val="tx2"/>
            </a:fgClr>
            <a:bgClr>
              <a:schemeClr val="bg1"/>
            </a:bgClr>
          </a:patt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9A68E80-3528-4444-AEBB-C8CCD95AA0D5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6666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9C0B79C-A3F9-B04E-A291-2BBEFCD76F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394604-6B48-BE40-8F43-ABC6903C8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DCEB278-B482-8843-ADD0-D60C8BCA5C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5BCF08AF-70EA-BB42-8F2F-4649BC65909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5/20/20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A1515E88-BEC8-4F41-84C2-74F5242E3A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B833D77C-FB5C-934E-A308-14E92400D0A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2972475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970E05D-6C9C-AA4C-9AC8-08594C5B389D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6227766" y="1584328"/>
            <a:ext cx="5497511" cy="4676775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tIns="251460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E3CF20-F6A9-EB44-8A9A-5F81C99E3B86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2190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325566"/>
            <a:ext cx="12192000" cy="4935537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783487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46CC6D-8813-8A49-97BC-3A30C8F416F4}"/>
              </a:ext>
            </a:extLst>
          </p:cNvPr>
          <p:cNvSpPr/>
          <p:nvPr userDrawn="1"/>
        </p:nvSpPr>
        <p:spPr bwMode="auto">
          <a:xfrm>
            <a:off x="0" y="0"/>
            <a:ext cx="12192000" cy="6261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399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>
            <a:cxnSpLocks/>
          </p:cNvCxnSpPr>
          <p:nvPr userDrawn="1"/>
        </p:nvCxnSpPr>
        <p:spPr>
          <a:xfrm>
            <a:off x="6477001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032AB2-38D4-BF4A-A7AB-33296B71E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7" y="1584328"/>
            <a:ext cx="5486399" cy="4676775"/>
          </a:xfrm>
        </p:spPr>
        <p:txBody>
          <a:bodyPr l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91716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400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E60AE5-24D1-2A42-9958-C863FAF38E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6" y="1584328"/>
            <a:ext cx="5486400" cy="4676775"/>
          </a:xfrm>
        </p:spPr>
        <p:txBody>
          <a:bodyPr l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9D58D12-4AE4-5F4D-BF23-B8C90DD0DCE1}"/>
              </a:ext>
            </a:extLst>
          </p:cNvPr>
          <p:cNvCxnSpPr>
            <a:cxnSpLocks/>
          </p:cNvCxnSpPr>
          <p:nvPr userDrawn="1"/>
        </p:nvCxnSpPr>
        <p:spPr>
          <a:xfrm>
            <a:off x="6477001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9717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2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3525" y="0"/>
            <a:ext cx="4308475" cy="6261100"/>
          </a:xfrm>
          <a:gradFill>
            <a:gsLst>
              <a:gs pos="0">
                <a:schemeClr val="accent1">
                  <a:lumMod val="5000"/>
                  <a:lumOff val="95000"/>
                  <a:alpha val="75000"/>
                </a:schemeClr>
              </a:gs>
              <a:gs pos="47000">
                <a:schemeClr val="accent2">
                  <a:alpha val="75000"/>
                </a:schemeClr>
              </a:gs>
            </a:gsLst>
            <a:lin ang="5400000" scaled="1"/>
          </a:gradFill>
        </p:spPr>
        <p:txBody>
          <a:bodyPr lIns="27432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92228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er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69B8A6-9804-1048-8166-F789E401FDA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0606F9-E155-FD47-9972-D713684EA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48F83C-B949-F844-9F52-7F6903B94DB8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3278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F7185A-0E54-EC4B-A2D7-B3EEFA3226D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</p:spTree>
    <p:extLst>
      <p:ext uri="{BB962C8B-B14F-4D97-AF65-F5344CB8AC3E}">
        <p14:creationId xmlns:p14="http://schemas.microsoft.com/office/powerpoint/2010/main" val="6306634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tIns="731520" anchor="ctr" anchorCtr="0"/>
          <a:lstStyle>
            <a:lvl1pPr algn="ctr">
              <a:defRPr sz="20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355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2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 message her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6A95F5B4-3F8A-1F44-A10C-9766E32867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1736791"/>
            <a:ext cx="1070811" cy="566637"/>
          </a:xfrm>
          <a:prstGeom prst="rect">
            <a:avLst/>
          </a:prstGeom>
        </p:spPr>
      </p:pic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370E9501-642E-B247-9CE6-ED47E59FE2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5297" y="1584327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3358623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2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 messag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68C28C-F47A-FF4E-BCF8-08E371A6F8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383" y="1736791"/>
            <a:ext cx="1062444" cy="566637"/>
          </a:xfrm>
          <a:prstGeom prst="rect">
            <a:avLst/>
          </a:prstGeom>
        </p:spPr>
      </p:pic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B7DC1723-F681-A84F-A939-DB2E67510C1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9953" y="1584328"/>
            <a:ext cx="1447281" cy="798455"/>
          </a:xfrm>
          <a:solidFill>
            <a:schemeClr val="accent2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466118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201EE337-5CAD-7F45-8CFF-05FD18115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21AB9518-D147-5A47-8595-253E98CFC56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5/20/20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7B672F3-4C98-9741-A5C7-1695AB1C8D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B219A04-E58A-B541-B284-8463CD450E0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DCC780-1CA3-CD48-98B5-50009A852B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96557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C127-988D-4A09-AC14-AFFFDA908F31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F035C1-CC88-4C7F-9840-73E30496F1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931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0C127-988D-4A09-AC14-AFFFDA908F31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F035C1-CC88-4C7F-9840-73E30496F1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0128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059D60-2ADE-E475-9B61-DE27F0629B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38C44B-7216-468E-911D-0F371EA342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AF0AFC-FA3D-E0C1-B174-169C18D75C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6B104-998E-A2EC-B9AA-8BFD85321B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68C02D-9CCC-B8E7-B5B0-8CC2C8280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2966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F651E5-C7BC-E6A0-9907-08F95C251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9CE44E-4F61-88F7-48AB-CE0FD236FD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EAA078-06B6-4741-A1B8-F5B09B5E9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965F54-ADE0-3F91-E172-AD36AC04B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03C3BD-FCB3-7582-210D-D0AB9142F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8774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B8D16-0B1B-1A20-CF03-132B94526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04BCA0-7B7C-55E8-68B2-EC2A72F3BA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1BEF46-4152-21DE-A908-FA9CA6F74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6A5F6F-7687-394D-B01C-E1F86FB1DE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02F19A-BB1E-82BD-6778-7F8C9F159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9006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E6F3E-1343-49F1-95D0-CD714A278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10A1F3-7BBE-8DBD-4511-4B9D0BFF2F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5C1900-E598-B968-D9FA-C6EC3A73A2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518E49-B98A-ED32-82D8-7285AA5EF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5C6900-A289-F002-CFF2-F9A9A79313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B787B6-4807-103E-22FC-7C0D0AA2A5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3948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7A3F6-665E-4267-16E9-6DF4FCB57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14CDCD-D07B-91E9-73D8-1BAD12F2BC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EC857F-5352-700F-AD9C-01ED8CA9FE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D40090-9551-27B7-2F05-6E974CFFA7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1FF053-0B19-8942-28B9-BB0B72ACBA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807361-74D5-228A-6183-33B6CB6CB4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EBFCBE-D647-ADCE-E03F-7F4D549DB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A199FC-E81D-CBBB-F847-F788C3534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707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CE517-FC6F-58E2-46D4-9EB37556E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B5F765-AD90-FAD3-7466-7FE9F025F6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C1810A-750F-61EE-2C30-46A7EADA6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BCE9F4-1700-0E93-27F0-18479F886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1139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087AC7-2190-8434-1BD7-0EFFBF6CA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BE74B8-38B5-96E7-7E38-72A459732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A37A4A-3AB1-B27F-C574-EE12FCE58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2539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D3191-DD43-5CE1-8451-B810F88F7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A863FE-1B21-9CCF-B9BE-B9DAA386F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2CB4D7-C500-2E89-B4DB-6276FB6FE4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23C917-2735-DF37-AD87-8BE909959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779C6E-11F9-7F7D-65B9-E098EC2C0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E8C3D9-6885-CCA9-B6B7-77DDD3F019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0342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CB4BD5E4-9605-5B45-B53C-3263CBC0E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9C8139A2-E7C6-A94E-9243-8058FC270F4D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5/20/20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B79A36A-9F65-D448-A17F-0AA7551AA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E5D8EB3-9199-B343-9D35-1520EFCFC7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01EFFB7-4B7A-5441-B683-0C4C9AD518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401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283FB-D9CC-3B61-BED1-F6825F18F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0FBC163-2208-A4EB-22D1-59DC56DE06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85730D-F7A1-BD90-1B51-1332A3580F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7B4526-9F3E-8599-43BF-B6A6BE5000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0472B-4B15-1CCF-8F5F-5B3D55BAE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55E96D-014D-2923-EC35-346DB7CAFF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5869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D0175-403A-1064-3D38-D42775FFB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0E9C9B-B339-14F2-AFD8-F74B0696C5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CCA2F5-707E-DDB7-DEC0-AB82CCD4A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1E9CB7-42BA-264E-43F4-A9CE0690CD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EFE84E-2438-F637-A543-CC5C9287B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4856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D7B5C3C-A2F4-8AA1-578E-53CBCE9AD7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A0A218-53E2-97AB-9E4D-46CCAFC8BA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E994E-19AC-20E6-886D-5A22AF9D7F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8D9093-1D53-C0A9-92B4-B34E4A4ED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B59B06-DA75-C552-BF33-E5FABB85C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7130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no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5A0279-4271-0C4A-A510-EC71BD5BFF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6726" y="342902"/>
            <a:ext cx="11258551" cy="1241425"/>
          </a:xfrm>
        </p:spPr>
        <p:txBody>
          <a:bodyPr tIns="137160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512BBB34-0C92-BB4A-AC27-87BCDA2BE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6" y="1584326"/>
            <a:ext cx="7416799" cy="1132748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C413C7-A5C3-C440-BEAB-026A4F9049A9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52825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fld id="{61B6E494-D54A-40C7-BD90-36E1144476D8}" type="datetime1">
              <a:rPr lang="en-US" smtClean="0"/>
              <a:t>3/13/2023</a:t>
            </a:fld>
            <a:endParaRPr lang="en-US" dirty="0"/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13CE3276-13B5-3E46-B586-9CB90C61E5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9AC084AC-CDBD-B94F-8D6E-9783F92A450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1421312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9C0B79C-A3F9-B04E-A291-2BBEFCD76F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394604-6B48-BE40-8F43-ABC6903C8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DCEB278-B482-8843-ADD0-D60C8BCA5C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5BCF08AF-70EA-BB42-8F2F-4649BC65909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fld id="{2FCE51BE-1C4B-4658-B1E6-92C3D0AC49FE}" type="datetime1">
              <a:rPr lang="en-US" smtClean="0"/>
              <a:t>3/13/2023</a:t>
            </a:fld>
            <a:endParaRPr lang="en-US" dirty="0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A1515E88-BEC8-4F41-84C2-74F5242E3A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B833D77C-FB5C-934E-A308-14E92400D0A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3005723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201EE337-5CAD-7F45-8CFF-05FD18115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21AB9518-D147-5A47-8595-253E98CFC56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fld id="{D5433FE7-A66E-4531-8858-41A019ADAD02}" type="datetime1">
              <a:rPr lang="en-US" smtClean="0"/>
              <a:t>3/13/2023</a:t>
            </a:fld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7B672F3-4C98-9741-A5C7-1695AB1C8D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B219A04-E58A-B541-B284-8463CD450E0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DCC780-1CA3-CD48-98B5-50009A852B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1467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CB4BD5E4-9605-5B45-B53C-3263CBC0E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9C8139A2-E7C6-A94E-9243-8058FC270F4D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fld id="{3A4B262D-77E3-4A7D-965B-5824B9021CB3}" type="datetime1">
              <a:rPr lang="en-US" smtClean="0"/>
              <a:t>3/13/2023</a:t>
            </a:fld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B79A36A-9F65-D448-A17F-0AA7551AA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E5D8EB3-9199-B343-9D35-1520EFCFC7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01EFFB7-4B7A-5441-B683-0C4C9AD518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849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3A7A0F2C-DFEE-4146-B997-DA062AC3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BB1652BE-D3FE-3940-8949-9AAEC00A479F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fld id="{FFFD33E2-30A0-4CF3-B9D2-591D0F1F9623}" type="datetime1">
              <a:rPr lang="en-US" smtClean="0"/>
              <a:t>3/13/2023</a:t>
            </a:fld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A43257B-5B80-1147-B57D-DE933A790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C6BA6DFA-F13F-7743-8870-871C9E26E3D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084DC68-6CAE-0B4D-A9F3-56659C53DE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165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6A968E52-F820-D344-901F-F4AA96A1C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EFF02FD-B6E3-214F-B831-0D922293C83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fld id="{E9F36EBD-590A-411D-9439-E9AC17FF9712}" type="datetime1">
              <a:rPr lang="en-US" smtClean="0"/>
              <a:t>3/13/2023</a:t>
            </a:fld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53147DD1-950A-C745-BED5-78B353FFA1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D4A1A41-135F-D346-955D-AA179792D67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B29B37B-25D1-B143-951D-C4ED385EE5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63624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EF42D942-2478-4D47-A32C-F504EF9E6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5C4B240-577D-9542-BB55-1143CC10FB0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fld id="{ECF56ADC-7808-41C7-B17A-5FB020D3C1AD}" type="datetime1">
              <a:rPr lang="en-US" smtClean="0"/>
              <a:t>3/13/2023</a:t>
            </a:fld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9464B15-94F0-8A4C-B350-74686D7542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2E0B9CD-6DDE-AB44-B006-621591AF80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7F9B4B9-63C9-0F4A-9D02-52C4BFD7B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7130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3A7A0F2C-DFEE-4146-B997-DA062AC3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BB1652BE-D3FE-3940-8949-9AAEC00A479F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5/20/20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A43257B-5B80-1147-B57D-DE933A790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C6BA6DFA-F13F-7743-8870-871C9E26E3D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084DC68-6CAE-0B4D-A9F3-56659C53DE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59628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60ED7FF-B301-DB49-88A6-4CD72677E4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1584327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2703DA-6F62-9B4A-910F-D77F4BC918C9}"/>
              </a:ext>
            </a:extLst>
          </p:cNvPr>
          <p:cNvSpPr txBox="1"/>
          <p:nvPr userDrawn="1"/>
        </p:nvSpPr>
        <p:spPr>
          <a:xfrm>
            <a:off x="10228985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1886" algn="r"/>
            <a:r>
              <a:rPr lang="en-US" sz="800" b="1" dirty="0">
                <a:solidFill>
                  <a:schemeClr val="accent1"/>
                </a:solidFill>
              </a:rPr>
              <a:t>UNC Health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5DF001-212C-4540-80F0-7DA5FC4C1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FA7FB8-2134-43D3-84EC-4C1DE5DEB54B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5A7F43-CEE2-834B-8BDA-E4A6504C9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38607-C19C-774D-BEF7-493C59161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6863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74749E-3478-0846-8E5D-5A453C217D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1584327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D338B1-A6EB-B747-93D6-CD0C95445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7B04B-2411-4D2D-B5E0-F9E43AF6BC25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73091-C838-5F47-8B9C-4265A9A72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75CEF-9B03-8847-99BF-1904D1E44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21B976-CB04-C147-BDC7-E24651677804}"/>
              </a:ext>
            </a:extLst>
          </p:cNvPr>
          <p:cNvSpPr txBox="1"/>
          <p:nvPr userDrawn="1"/>
        </p:nvSpPr>
        <p:spPr>
          <a:xfrm>
            <a:off x="10228985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1886" algn="r"/>
            <a:r>
              <a:rPr lang="en-US" sz="800" b="1" dirty="0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29795286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2E4A80-36C5-974E-B2A6-F7DE46DE69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6" y="1584327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75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F2160C2-1267-41E6-9401-8840B953E097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7817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199714B-714F-8249-B931-1BFAC99FB0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6" y="1584327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75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07532BF-193B-4C57-A031-B7B1591E8CCE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6694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80022A64-5B59-441B-B992-5C45FAD09A46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1584327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60120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F540F75-383B-4678-AC10-8642F8891DC3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1584327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31736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11258551" cy="4676776"/>
          </a:xfrm>
        </p:spPr>
        <p:txBody>
          <a:bodyPr rIns="1938528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CD5F2E-8E58-A14B-B80C-9B6594482EB6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13">
            <a:extLst>
              <a:ext uri="{FF2B5EF4-FFF2-40B4-BE49-F238E27FC236}">
                <a16:creationId xmlns:a16="http://schemas.microsoft.com/office/drawing/2014/main" id="{A73E81F0-30EC-604C-95CA-DB8CC6CADA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fld id="{DF741570-F50E-430A-BF83-B0F17A3A7E50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5AA9-2F43-3343-BA48-1CA2E6322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5441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38877" y="1584326"/>
            <a:ext cx="5497513" cy="46767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C4742D5-3A05-9045-B74A-D3F962B802D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EAEB311-A23A-432B-9382-FA4798374488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3FE8545-7798-1641-AF94-65B0020EBC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B145867-33F4-7942-A468-63972ECBAD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1C0A9-E7F2-E043-948A-B1E2EA474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5F8FA7-0E8B-AC4B-9A04-27BD3889EBF9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90945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35671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08477" y="1584327"/>
            <a:ext cx="3575049" cy="46767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ADD0FD0-82F6-6249-86EF-808648B068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2452" y="1584324"/>
            <a:ext cx="3552825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CAEDB-ABB8-1842-AE19-7725B4CAB2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5D6D6F3-E263-49E7-8487-D56C4D5D4611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271D53-83D4-0142-88D2-21B34455C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38CA74-93B7-F445-8D0F-582527E50ADD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3012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7" y="1584326"/>
            <a:ext cx="5486399" cy="4365212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315CF24-914B-479F-B1F6-194B6E5A780E}" type="datetime1">
              <a:rPr lang="en-US" smtClean="0"/>
              <a:t>3/13/2023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EE122B8-2BA6-D444-B9FC-8EE2551015AF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9579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6A968E52-F820-D344-901F-F4AA96A1C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EFF02FD-B6E3-214F-B831-0D922293C83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5/20/20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53147DD1-950A-C745-BED5-78B353FFA1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D4A1A41-135F-D346-955D-AA179792D67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B29B37B-25D1-B143-951D-C4ED385EE5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3762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7" y="1584329"/>
            <a:ext cx="5497513" cy="3747695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FC0A0-8890-FA4A-A265-675F16FD3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75" y="5332024"/>
            <a:ext cx="5486400" cy="929079"/>
          </a:xfrm>
        </p:spPr>
        <p:txBody>
          <a:bodyPr tIns="137160"/>
          <a:lstStyle>
            <a:lvl1pPr>
              <a:defRPr sz="900" b="1">
                <a:solidFill>
                  <a:schemeClr val="accent1"/>
                </a:solidFill>
              </a:defRPr>
            </a:lvl1pPr>
            <a:lvl2pPr>
              <a:defRPr sz="900"/>
            </a:lvl2pPr>
            <a:lvl3pPr marL="0" indent="0">
              <a:buFontTx/>
              <a:buNone/>
              <a:defRPr sz="900" b="1">
                <a:solidFill>
                  <a:schemeClr val="accent1"/>
                </a:solidFill>
              </a:defRPr>
            </a:lvl3pPr>
            <a:lvl4pPr marL="0" indent="0">
              <a:buFontTx/>
              <a:buNone/>
              <a:defRPr sz="900" b="1">
                <a:solidFill>
                  <a:schemeClr val="accent1"/>
                </a:solidFill>
              </a:defRPr>
            </a:lvl4pPr>
            <a:lvl5pPr marL="0" indent="0">
              <a:buFontTx/>
              <a:buNone/>
              <a:defRPr sz="900" b="1">
                <a:solidFill>
                  <a:schemeClr val="accent1"/>
                </a:solidFill>
              </a:defRPr>
            </a:lvl5pPr>
            <a:lvl6pPr marL="0" indent="0">
              <a:buFontTx/>
              <a:buNone/>
              <a:defRPr sz="900" b="1"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900" b="1">
                <a:solidFill>
                  <a:schemeClr val="accent1"/>
                </a:solidFill>
              </a:defRPr>
            </a:lvl7pPr>
            <a:lvl8pPr marL="0" indent="0">
              <a:buFontTx/>
              <a:buNone/>
              <a:defRPr sz="900" b="1">
                <a:solidFill>
                  <a:schemeClr val="accent1"/>
                </a:solidFill>
              </a:defRPr>
            </a:lvl8pPr>
            <a:lvl9pPr marL="0" indent="0">
              <a:buFontTx/>
              <a:buNone/>
              <a:defRPr sz="9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C830B4-E9C0-1844-9666-E44BDF9B6EF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F5A9596-5409-470A-AF19-80DC1A2261E5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283AC57-D239-4F44-A373-83E8AF1607A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FD62E05-6DF1-3642-9C7A-C5DD14FBD3A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36FCCE-0ED1-BB45-9AA8-E6ABE533D030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96141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22D557B-90D1-47E2-90CD-E1A6ED25A9B9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D9A7A099-8FCD-F248-90AD-8AB09DA1ADC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27766" y="1584328"/>
            <a:ext cx="5497511" cy="4676775"/>
          </a:xfrm>
          <a:pattFill prst="pct10">
            <a:fgClr>
              <a:schemeClr val="tx2"/>
            </a:fgClr>
            <a:bgClr>
              <a:schemeClr val="bg1"/>
            </a:bgClr>
          </a:patt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9A68E80-3528-4444-AEBB-C8CCD95AA0D5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26424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6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9D0D324-60F4-46AC-999A-B4C45472458C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970E05D-6C9C-AA4C-9AC8-08594C5B389D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6227766" y="1584328"/>
            <a:ext cx="5497511" cy="4676775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tIns="2514600"/>
          <a:lstStyle>
            <a:lvl1pPr algn="ctr">
              <a:defRPr/>
            </a:lvl1pPr>
          </a:lstStyle>
          <a:p>
            <a:r>
              <a:rPr lang="en-US" dirty="0"/>
              <a:t>Click icon to add tab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E3CF20-F6A9-EB44-8A9A-5F81C99E3B86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50482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FE19616-327B-49D4-881D-F8768723364B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325566"/>
            <a:ext cx="12192000" cy="4935537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493840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46CC6D-8813-8A49-97BC-3A30C8F416F4}"/>
              </a:ext>
            </a:extLst>
          </p:cNvPr>
          <p:cNvSpPr/>
          <p:nvPr userDrawn="1"/>
        </p:nvSpPr>
        <p:spPr bwMode="auto">
          <a:xfrm>
            <a:off x="0" y="0"/>
            <a:ext cx="12192000" cy="6261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1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399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665072-E10E-44E7-AEC0-67FB1767EBB3}" type="datetime1">
              <a:rPr lang="en-US" smtClean="0"/>
              <a:t>3/13/2023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>
            <a:cxnSpLocks/>
          </p:cNvCxnSpPr>
          <p:nvPr userDrawn="1"/>
        </p:nvCxnSpPr>
        <p:spPr>
          <a:xfrm>
            <a:off x="6477001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032AB2-38D4-BF4A-A7AB-33296B71E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7" y="1584328"/>
            <a:ext cx="5486399" cy="4676775"/>
          </a:xfrm>
        </p:spPr>
        <p:txBody>
          <a:bodyPr l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92567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400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6644477-2A00-4742-90F4-09D229014762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E60AE5-24D1-2A42-9958-C863FAF38E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6" y="1584328"/>
            <a:ext cx="5486400" cy="4676775"/>
          </a:xfrm>
        </p:spPr>
        <p:txBody>
          <a:bodyPr l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9D58D12-4AE4-5F4D-BF23-B8C90DD0DCE1}"/>
              </a:ext>
            </a:extLst>
          </p:cNvPr>
          <p:cNvCxnSpPr>
            <a:cxnSpLocks/>
          </p:cNvCxnSpPr>
          <p:nvPr userDrawn="1"/>
        </p:nvCxnSpPr>
        <p:spPr>
          <a:xfrm>
            <a:off x="6477001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535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3909587-5B10-4B83-BE40-A068150B202B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2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3525" y="0"/>
            <a:ext cx="4308475" cy="6261100"/>
          </a:xfrm>
          <a:gradFill>
            <a:gsLst>
              <a:gs pos="0">
                <a:schemeClr val="accent1">
                  <a:lumMod val="5000"/>
                  <a:lumOff val="95000"/>
                  <a:alpha val="75000"/>
                </a:schemeClr>
              </a:gs>
              <a:gs pos="47000">
                <a:schemeClr val="accent2">
                  <a:alpha val="75000"/>
                </a:schemeClr>
              </a:gs>
            </a:gsLst>
            <a:lin ang="5400000" scaled="1"/>
          </a:gradFill>
        </p:spPr>
        <p:txBody>
          <a:bodyPr lIns="27432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40271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er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69B8A6-9804-1048-8166-F789E401FDA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705D7DB-84F2-4F6C-A834-508024D7BCF2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0606F9-E155-FD47-9972-D713684EA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48F83C-B949-F844-9F52-7F6903B94DB8}"/>
              </a:ext>
            </a:extLst>
          </p:cNvPr>
          <p:cNvCxnSpPr>
            <a:cxnSpLocks/>
          </p:cNvCxnSpPr>
          <p:nvPr userDrawn="1"/>
        </p:nvCxnSpPr>
        <p:spPr>
          <a:xfrm>
            <a:off x="466726" y="1325563"/>
            <a:ext cx="1125855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21928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F7185A-0E54-EC4B-A2D7-B3EEFA3226D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166CDA-2E7F-49B9-9ECF-AEED80949BA8}" type="datetime1">
              <a:rPr lang="en-US" smtClean="0"/>
              <a:t>3/13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1683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tIns="731520" anchor="ctr" anchorCtr="0"/>
          <a:lstStyle>
            <a:lvl1pPr algn="ctr">
              <a:defRPr sz="20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3538394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EF42D942-2478-4D47-A32C-F504EF9E6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2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5C4B240-577D-9542-BB55-1143CC10FB0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6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5/20/20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9464B15-94F0-8A4C-B350-74686D7542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1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2E0B9CD-6DDE-AB44-B006-621591AF80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7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7F9B4B9-63C9-0F4A-9D02-52C4BFD7B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8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4574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2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 message her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6A95F5B4-3F8A-1F44-A10C-9766E32867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1736791"/>
            <a:ext cx="1070811" cy="566637"/>
          </a:xfrm>
          <a:prstGeom prst="rect">
            <a:avLst/>
          </a:prstGeom>
        </p:spPr>
      </p:pic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370E9501-642E-B247-9CE6-ED47E59FE2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5297" y="1584327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3945801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2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 messag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68C28C-F47A-FF4E-BCF8-08E371A6F8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383" y="1736791"/>
            <a:ext cx="1062444" cy="566637"/>
          </a:xfrm>
          <a:prstGeom prst="rect">
            <a:avLst/>
          </a:prstGeom>
        </p:spPr>
      </p:pic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B7DC1723-F681-A84F-A939-DB2E67510C1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9953" y="1584328"/>
            <a:ext cx="1447281" cy="798455"/>
          </a:xfrm>
          <a:solidFill>
            <a:schemeClr val="accent2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746198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059D60-2ADE-E475-9B61-DE27F0629B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38C44B-7216-468E-911D-0F371EA342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AF0AFC-FA3D-E0C1-B174-169C18D75C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l" defTabSz="914377">
              <a:defRPr/>
            </a:pPr>
            <a:fld id="{F1ABB091-DC15-574D-ADC2-F70481EE6535}" type="datetimeFigureOut">
              <a:rPr lang="en-US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algn="l" defTabSz="914377">
                <a:defRPr/>
              </a:pPr>
              <a:t>3/13/2023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36B104-998E-A2EC-B9AA-8BFD85321B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 defTabSz="914377">
              <a:defRPr/>
            </a:pPr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68C02D-9CCC-B8E7-B5B0-8CC2C8280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914377">
              <a:defRPr/>
            </a:pPr>
            <a:fld id="{D5BA1E29-BCF7-A440-8BD1-308F48F7B9F0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 algn="r" defTabSz="914377">
                <a:defRPr/>
              </a:pPr>
              <a:t>‹#›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641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60ED7FF-B301-DB49-88A6-4CD72677E4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1584327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2703DA-6F62-9B4A-910F-D77F4BC918C9}"/>
              </a:ext>
            </a:extLst>
          </p:cNvPr>
          <p:cNvSpPr txBox="1"/>
          <p:nvPr userDrawn="1"/>
        </p:nvSpPr>
        <p:spPr>
          <a:xfrm>
            <a:off x="10228985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1886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5DF001-212C-4540-80F0-7DA5FC4C1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5A7F43-CEE2-834B-8BDA-E4A6504C9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38607-C19C-774D-BEF7-493C59161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99238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74749E-3478-0846-8E5D-5A453C217D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1584327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D338B1-A6EB-B747-93D6-CD0C95445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5/20/20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73091-C838-5F47-8B9C-4265A9A72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75CEF-9B03-8847-99BF-1904D1E44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21B976-CB04-C147-BDC7-E24651677804}"/>
              </a:ext>
            </a:extLst>
          </p:cNvPr>
          <p:cNvSpPr txBox="1"/>
          <p:nvPr userDrawn="1"/>
        </p:nvSpPr>
        <p:spPr>
          <a:xfrm>
            <a:off x="10228985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1886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253211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47" imgH="348" progId="TCLayout.ActiveDocument.1">
                  <p:embed/>
                </p:oleObj>
              </mc:Choice>
              <mc:Fallback>
                <p:oleObj name="think-cell Slide" r:id="rId35" imgW="347" imgH="34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4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726" y="342900"/>
            <a:ext cx="11258551" cy="723900"/>
          </a:xfrm>
          <a:prstGeom prst="rect">
            <a:avLst/>
          </a:prstGeom>
        </p:spPr>
        <p:txBody>
          <a:bodyPr vert="horz" lIns="0" tIns="868680" rIns="1938528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726" y="1584328"/>
            <a:ext cx="11258551" cy="4676775"/>
          </a:xfrm>
          <a:prstGeom prst="rect">
            <a:avLst/>
          </a:prstGeom>
        </p:spPr>
        <p:txBody>
          <a:bodyPr vert="horz" lIns="0" tIns="73152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dirty="0"/>
              <a:t>Fourth level</a:t>
            </a:r>
          </a:p>
          <a:p>
            <a:pPr marL="685783" marR="0" lvl="4" indent="-228594" algn="l" defTabSz="292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SzPct val="80000"/>
              <a:buFont typeface="Arial Unicode MS" panose="020B0604020202020204" pitchFamily="34" charset="-128"/>
              <a:buChar char="￮"/>
              <a:tabLst>
                <a:tab pos="292601" algn="l"/>
                <a:tab pos="585201" algn="l"/>
              </a:tabLst>
              <a:defRPr/>
            </a:pPr>
            <a:r>
              <a:rPr lang="en-US" dirty="0"/>
              <a:t>Fifth level</a:t>
            </a:r>
          </a:p>
          <a:p>
            <a:pPr lvl="3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61304" y="6400970"/>
            <a:ext cx="5922221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9525" algn="l">
              <a:tabLst/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725" y="6400970"/>
            <a:ext cx="424392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algn="l"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5D300FB-C47F-BA4E-A67A-042C3A7A6A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/>
              <a:t>5/20/2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2EE6E4-ED9E-C34A-BAFF-47DECD28E2BC}"/>
              </a:ext>
            </a:extLst>
          </p:cNvPr>
          <p:cNvSpPr txBox="1"/>
          <p:nvPr userDrawn="1"/>
        </p:nvSpPr>
        <p:spPr>
          <a:xfrm>
            <a:off x="10228985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1886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4074871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</p:sldLayoutIdLst>
  <p:hf sldNum="0" hdr="0" ftr="0" dt="0"/>
  <p:txStyles>
    <p:titleStyle>
      <a:lvl1pPr algn="l" defTabSz="914377" rtl="0" eaLnBrk="1" latinLnBrk="0" hangingPunct="1">
        <a:lnSpc>
          <a:spcPts val="2800"/>
        </a:lnSpc>
        <a:spcBef>
          <a:spcPct val="0"/>
        </a:spcBef>
        <a:buNone/>
        <a:defRPr sz="2400" b="1" i="0" kern="1200">
          <a:solidFill>
            <a:schemeClr val="accent2"/>
          </a:solidFill>
          <a:latin typeface="+mj-lt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600" b="0" i="0" kern="1200">
          <a:solidFill>
            <a:schemeClr val="tx2"/>
          </a:solidFill>
          <a:latin typeface="+mn-lt"/>
          <a:ea typeface="Arial" charset="0"/>
          <a:cs typeface="Arial" charset="0"/>
        </a:defRPr>
      </a:lvl1pPr>
      <a:lvl2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FontTx/>
        <a:buNone/>
        <a:tabLst>
          <a:tab pos="280981" algn="l"/>
        </a:tabLst>
        <a:defRPr sz="1800" b="1" i="0" kern="1200">
          <a:solidFill>
            <a:schemeClr val="accent1"/>
          </a:solidFill>
          <a:latin typeface="+mn-lt"/>
          <a:ea typeface="Corbel" charset="0"/>
          <a:cs typeface="Corbel" charset="0"/>
        </a:defRPr>
      </a:lvl2pPr>
      <a:lvl3pPr marL="228594" indent="-227008" algn="l" defTabSz="292601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Char char="•"/>
        <a:tabLst>
          <a:tab pos="276218" algn="l"/>
          <a:tab pos="584185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3pPr>
      <a:lvl4pPr marL="457189" marR="0" indent="-228594" algn="l" defTabSz="292601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1" algn="l"/>
          <a:tab pos="585201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4pPr>
      <a:lvl5pPr marL="685783" indent="-228594" algn="l" defTabSz="292601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1" algn="l"/>
          <a:tab pos="585201" algn="l"/>
        </a:tabLst>
        <a:defRPr sz="1600" b="0" kern="1200">
          <a:solidFill>
            <a:schemeClr val="tx2"/>
          </a:solidFill>
          <a:latin typeface="+mn-lt"/>
          <a:ea typeface="Corbel" charset="0"/>
          <a:cs typeface="Corbel" charset="0"/>
        </a:defRPr>
      </a:lvl5pPr>
      <a:lvl6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6pPr>
      <a:lvl7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7pPr>
      <a:lvl8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8pPr>
      <a:lvl9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15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8" pos="2541" userDrawn="1">
          <p15:clr>
            <a:srgbClr val="F26B43"/>
          </p15:clr>
        </p15:guide>
        <p15:guide id="9" pos="3757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2" pos="3931" userDrawn="1">
          <p15:clr>
            <a:srgbClr val="F26B43"/>
          </p15:clr>
        </p15:guide>
        <p15:guide id="13" pos="7387" userDrawn="1">
          <p15:clr>
            <a:srgbClr val="F26B43"/>
          </p15:clr>
        </p15:guide>
        <p15:guide id="15" pos="4967" userDrawn="1">
          <p15:clr>
            <a:srgbClr val="F26B43"/>
          </p15:clr>
        </p15:guide>
        <p15:guide id="16" pos="5139" userDrawn="1">
          <p15:clr>
            <a:srgbClr val="F26B43"/>
          </p15:clr>
        </p15:guide>
        <p15:guide id="23" orient="horz" pos="4148" userDrawn="1">
          <p15:clr>
            <a:srgbClr val="F26B43"/>
          </p15:clr>
        </p15:guide>
        <p15:guide id="24" orient="horz" pos="3944" userDrawn="1">
          <p15:clr>
            <a:srgbClr val="F26B43"/>
          </p15:clr>
        </p15:guide>
        <p15:guide id="25" orient="horz" pos="216" userDrawn="1">
          <p15:clr>
            <a:srgbClr val="F26B43"/>
          </p15:clr>
        </p15:guide>
        <p15:guide id="26" orient="horz" pos="998" userDrawn="1">
          <p15:clr>
            <a:srgbClr val="F26B43"/>
          </p15:clr>
        </p15:guide>
        <p15:guide id="27" orient="horz" pos="672" userDrawn="1">
          <p15:clr>
            <a:srgbClr val="F26B43"/>
          </p15:clr>
        </p15:guide>
        <p15:guide id="31" orient="horz" pos="835" userDrawn="1">
          <p15:clr>
            <a:srgbClr val="F26B43"/>
          </p15:clr>
        </p15:guide>
        <p15:guide id="32" orient="horz" pos="402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6C1AD6-D0DA-7F8F-A0B5-4BF3D7B69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FB083E-998C-9401-4316-FA5EE49FF8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248309-145C-48A0-2E5F-6CA1D4FD82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ABB091-DC15-574D-ADC2-F70481EE6535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FAF3EC-5D1D-3258-5DD0-284C3B03F5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E06A2F-EB20-AC59-AF30-39FF5D1E8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BA1E29-BCF7-A440-8BD1-308F48F7B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67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726" y="342900"/>
            <a:ext cx="11258551" cy="723900"/>
          </a:xfrm>
          <a:prstGeom prst="rect">
            <a:avLst/>
          </a:prstGeom>
        </p:spPr>
        <p:txBody>
          <a:bodyPr vert="horz" lIns="0" tIns="868680" rIns="1938528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726" y="1584328"/>
            <a:ext cx="11258551" cy="4676775"/>
          </a:xfrm>
          <a:prstGeom prst="rect">
            <a:avLst/>
          </a:prstGeom>
        </p:spPr>
        <p:txBody>
          <a:bodyPr vert="horz" lIns="0" tIns="73152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 </a:t>
            </a:r>
          </a:p>
          <a:p>
            <a:pPr lvl="3"/>
            <a:r>
              <a:rPr lang="en-US"/>
              <a:t>Fourth level</a:t>
            </a:r>
          </a:p>
          <a:p>
            <a:pPr marL="685783" marR="0" lvl="4" indent="-228594" algn="l" defTabSz="292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SzPct val="80000"/>
              <a:buFont typeface="Arial Unicode MS" panose="020B0604020202020204" pitchFamily="34" charset="-128"/>
              <a:buChar char="￮"/>
              <a:tabLst>
                <a:tab pos="292601" algn="l"/>
                <a:tab pos="585201" algn="l"/>
              </a:tabLst>
              <a:defRPr/>
            </a:pPr>
            <a:r>
              <a:rPr lang="en-US"/>
              <a:t>Fifth level</a:t>
            </a:r>
          </a:p>
          <a:p>
            <a:pPr lvl="3"/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61304" y="6400970"/>
            <a:ext cx="5922221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9525" algn="l">
              <a:tabLst/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r>
              <a:rPr lang="en-US" dirty="0"/>
              <a:t>Modify with Insert &gt; Header and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725" y="6400970"/>
            <a:ext cx="424392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algn="l"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5D300FB-C47F-BA4E-A67A-042C3A7A6A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fld id="{FAC75CB6-2096-44F1-9D93-DEE9342DEBB2}" type="datetime1">
              <a:rPr lang="en-US" smtClean="0"/>
              <a:t>3/13/2023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2EE6E4-ED9E-C34A-BAFF-47DECD28E2BC}"/>
              </a:ext>
            </a:extLst>
          </p:cNvPr>
          <p:cNvSpPr txBox="1"/>
          <p:nvPr userDrawn="1"/>
        </p:nvSpPr>
        <p:spPr>
          <a:xfrm>
            <a:off x="10228985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1886" algn="r"/>
            <a:r>
              <a:rPr lang="en-US" sz="800" b="1" dirty="0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3521985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</p:sldLayoutIdLst>
  <p:hf hdr="0" ftr="0"/>
  <p:txStyles>
    <p:titleStyle>
      <a:lvl1pPr algn="l" defTabSz="914377" rtl="0" eaLnBrk="1" latinLnBrk="0" hangingPunct="1">
        <a:lnSpc>
          <a:spcPts val="2800"/>
        </a:lnSpc>
        <a:spcBef>
          <a:spcPct val="0"/>
        </a:spcBef>
        <a:buNone/>
        <a:defRPr sz="2400" b="1" i="0" kern="1200">
          <a:solidFill>
            <a:schemeClr val="accent2"/>
          </a:solidFill>
          <a:latin typeface="+mj-lt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600" b="0" i="0" kern="1200">
          <a:solidFill>
            <a:schemeClr val="tx2"/>
          </a:solidFill>
          <a:latin typeface="+mn-lt"/>
          <a:ea typeface="Arial" charset="0"/>
          <a:cs typeface="Arial" charset="0"/>
        </a:defRPr>
      </a:lvl1pPr>
      <a:lvl2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FontTx/>
        <a:buNone/>
        <a:tabLst>
          <a:tab pos="280981" algn="l"/>
        </a:tabLst>
        <a:defRPr sz="1800" b="1" i="0" kern="1200">
          <a:solidFill>
            <a:schemeClr val="accent1"/>
          </a:solidFill>
          <a:latin typeface="+mn-lt"/>
          <a:ea typeface="Corbel" charset="0"/>
          <a:cs typeface="Corbel" charset="0"/>
        </a:defRPr>
      </a:lvl2pPr>
      <a:lvl3pPr marL="228594" indent="-227008" algn="l" defTabSz="292601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Char char="•"/>
        <a:tabLst>
          <a:tab pos="276218" algn="l"/>
          <a:tab pos="584185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3pPr>
      <a:lvl4pPr marL="457189" marR="0" indent="-228594" algn="l" defTabSz="292601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1" algn="l"/>
          <a:tab pos="585201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4pPr>
      <a:lvl5pPr marL="685783" indent="-228594" algn="l" defTabSz="292601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1" algn="l"/>
          <a:tab pos="585201" algn="l"/>
        </a:tabLst>
        <a:defRPr sz="1600" b="0" kern="1200">
          <a:solidFill>
            <a:schemeClr val="tx2"/>
          </a:solidFill>
          <a:latin typeface="+mn-lt"/>
          <a:ea typeface="Corbel" charset="0"/>
          <a:cs typeface="Corbel" charset="0"/>
        </a:defRPr>
      </a:lvl5pPr>
      <a:lvl6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6pPr>
      <a:lvl7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7pPr>
      <a:lvl8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8pPr>
      <a:lvl9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15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8" pos="2541" userDrawn="1">
          <p15:clr>
            <a:srgbClr val="F26B43"/>
          </p15:clr>
        </p15:guide>
        <p15:guide id="9" pos="3757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2" pos="3931" userDrawn="1">
          <p15:clr>
            <a:srgbClr val="F26B43"/>
          </p15:clr>
        </p15:guide>
        <p15:guide id="13" pos="7387" userDrawn="1">
          <p15:clr>
            <a:srgbClr val="F26B43"/>
          </p15:clr>
        </p15:guide>
        <p15:guide id="15" pos="4967" userDrawn="1">
          <p15:clr>
            <a:srgbClr val="F26B43"/>
          </p15:clr>
        </p15:guide>
        <p15:guide id="16" pos="5139" userDrawn="1">
          <p15:clr>
            <a:srgbClr val="F26B43"/>
          </p15:clr>
        </p15:guide>
        <p15:guide id="23" orient="horz" pos="4148" userDrawn="1">
          <p15:clr>
            <a:srgbClr val="F26B43"/>
          </p15:clr>
        </p15:guide>
        <p15:guide id="24" orient="horz" pos="3944" userDrawn="1">
          <p15:clr>
            <a:srgbClr val="F26B43"/>
          </p15:clr>
        </p15:guide>
        <p15:guide id="25" orient="horz" pos="216" userDrawn="1">
          <p15:clr>
            <a:srgbClr val="F26B43"/>
          </p15:clr>
        </p15:guide>
        <p15:guide id="26" orient="horz" pos="998" userDrawn="1">
          <p15:clr>
            <a:srgbClr val="F26B43"/>
          </p15:clr>
        </p15:guide>
        <p15:guide id="27" orient="horz" pos="672" userDrawn="1">
          <p15:clr>
            <a:srgbClr val="F26B43"/>
          </p15:clr>
        </p15:guide>
        <p15:guide id="31" orient="horz" pos="835" userDrawn="1">
          <p15:clr>
            <a:srgbClr val="F26B43"/>
          </p15:clr>
        </p15:guide>
        <p15:guide id="32" orient="horz" pos="40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2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hyperlink" Target="mailto:ginger.clark@unchealth.unc.edu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6.xml"/><Relationship Id="rId5" Type="http://schemas.openxmlformats.org/officeDocument/2006/relationships/hyperlink" Target="https://livingsabai.com/shop/thai-herbal-massage-balm/" TargetMode="External"/><Relationship Id="rId4" Type="http://schemas.openxmlformats.org/officeDocument/2006/relationships/image" Target="../media/image4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7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9C908CBE-89E8-E7D0-59A1-43C9622C54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4316"/>
            <a:ext cx="12192000" cy="6872317"/>
          </a:xfrm>
          <a:prstGeom prst="rect">
            <a:avLst/>
          </a:prstGeom>
        </p:spPr>
      </p:pic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ACD4798-F190-8CB4-2992-AE6CCDF42776}"/>
              </a:ext>
            </a:extLst>
          </p:cNvPr>
          <p:cNvSpPr txBox="1">
            <a:spLocks/>
          </p:cNvSpPr>
          <p:nvPr/>
        </p:nvSpPr>
        <p:spPr>
          <a:xfrm>
            <a:off x="551180" y="5234725"/>
            <a:ext cx="12166600" cy="10509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algn="l" defTabSz="9144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algn="l" defTabSz="9144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algn="l" defTabSz="9144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algn="l" defTabSz="9144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algn="l" defTabSz="9144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algn="l" defTabSz="9144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algn="l" defTabSz="9144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algn="l" defTabSz="914400" rtl="0" eaLnBrk="1" latinLnBrk="0" hangingPunct="1">
              <a:defRPr sz="800" b="0" i="0" kern="12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pPr defTabSz="914377"/>
            <a:r>
              <a:rPr lang="en-US" sz="2000" dirty="0">
                <a:solidFill>
                  <a:srgbClr val="FFFFFF"/>
                </a:solidFill>
                <a:latin typeface="Arial" panose="020B0604020202020204"/>
              </a:rPr>
              <a:t>Ginger Clark, LMBT, Yoga Instructor | UNC Health Wellness Centers</a:t>
            </a: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5B978AED-76CC-6135-C158-2F9BFDE51F4C}"/>
              </a:ext>
            </a:extLst>
          </p:cNvPr>
          <p:cNvSpPr txBox="1">
            <a:spLocks/>
          </p:cNvSpPr>
          <p:nvPr/>
        </p:nvSpPr>
        <p:spPr>
          <a:xfrm>
            <a:off x="551181" y="4709227"/>
            <a:ext cx="12032995" cy="1050995"/>
          </a:xfrm>
          <a:prstGeom prst="rect">
            <a:avLst/>
          </a:prstGeom>
        </p:spPr>
        <p:txBody>
          <a:bodyPr vert="horz" lIns="0" tIns="868680" rIns="1938528" bIns="0" rtlCol="0" anchor="b" anchorCtr="0">
            <a:noAutofit/>
          </a:bodyPr>
          <a:lstStyle>
            <a:lvl1pPr algn="ctr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6000" b="1" i="0" kern="1200">
                <a:solidFill>
                  <a:schemeClr val="accent2"/>
                </a:solidFill>
                <a:latin typeface="+mj-lt"/>
                <a:ea typeface="Georgia" charset="0"/>
                <a:cs typeface="Georgia" charset="0"/>
              </a:defRPr>
            </a:lvl1pPr>
          </a:lstStyle>
          <a:p>
            <a:pPr algn="l" defTabSz="914377">
              <a:spcAft>
                <a:spcPts val="1200"/>
              </a:spcAft>
            </a:pPr>
            <a:r>
              <a:rPr lang="en-US" sz="3600" dirty="0">
                <a:solidFill>
                  <a:srgbClr val="FFFFFF"/>
                </a:solidFill>
                <a:latin typeface="Arial" panose="020B0604020202020204"/>
              </a:rPr>
              <a:t>Tech, Text and Zoom: 	</a:t>
            </a:r>
            <a:endParaRPr lang="en-US" sz="800" dirty="0">
              <a:solidFill>
                <a:srgbClr val="FFFFFF"/>
              </a:solidFill>
              <a:latin typeface="Arial" panose="020B0604020202020204"/>
            </a:endParaRPr>
          </a:p>
          <a:p>
            <a:pPr algn="l" defTabSz="914377">
              <a:spcAft>
                <a:spcPts val="1200"/>
              </a:spcAft>
            </a:pPr>
            <a:r>
              <a:rPr lang="en-US" sz="3200" dirty="0">
                <a:solidFill>
                  <a:srgbClr val="FFFFFF"/>
                </a:solidFill>
                <a:latin typeface="Arial" panose="020B0604020202020204"/>
              </a:rPr>
              <a:t>  Self-care for your neck &amp; back </a:t>
            </a:r>
            <a:endParaRPr lang="en-US" sz="2800" dirty="0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15E76B-D515-6045-EC5B-E5044D7CE744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646631" y="5961888"/>
            <a:ext cx="1372628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5461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rals &amp; Insura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25690" y="1219200"/>
            <a:ext cx="10611556" cy="4504267"/>
          </a:xfrm>
          <a:prstGeom prst="rect">
            <a:avLst/>
          </a:prstGeom>
          <a:noFill/>
        </p:spPr>
        <p:txBody>
          <a:bodyPr wrap="none" lIns="0" tIns="73152" rIns="0" bIns="0" rtlCol="0">
            <a:normAutofit/>
          </a:bodyPr>
          <a:lstStyle/>
          <a:p>
            <a:pPr algn="l"/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45067" y="2156179"/>
            <a:ext cx="10701867" cy="4447821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r>
              <a:rPr lang="en-US" sz="2000" b="1" dirty="0"/>
              <a:t>Call (919) 966-5500 </a:t>
            </a:r>
            <a:r>
              <a:rPr lang="en-US" sz="2000" dirty="0"/>
              <a:t>to schedule in Meadowmont (919-957-5900 for NW Cary)</a:t>
            </a:r>
          </a:p>
          <a:p>
            <a:pPr marL="742932" lvl="1" indent="-285744">
              <a:buFont typeface="Arial" panose="020B0604020202020204" pitchFamily="34" charset="0"/>
              <a:buChar char="•"/>
            </a:pPr>
            <a:r>
              <a:rPr lang="en-US" sz="2000" dirty="0"/>
              <a:t>Appointments are available 7 days/week, from the morning through the evening. </a:t>
            </a:r>
          </a:p>
          <a:p>
            <a:pPr marL="742932" lvl="1" indent="-285744">
              <a:buFont typeface="Arial" panose="020B0604020202020204" pitchFamily="34" charset="0"/>
              <a:buChar char="•"/>
            </a:pPr>
            <a:r>
              <a:rPr lang="en-US" sz="2000" dirty="0"/>
              <a:t>If unsure who to schedule with, the front desk can direct you to me to help select the right therapist for your needs.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en-US" sz="2000" dirty="0"/>
              <a:t>All of our therapists can do medical, Swedish, deep tissue and neuromuscular massage.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en-US" sz="2000" dirty="0"/>
              <a:t>Only certain therapists offer prenatal, hot stone, craniosacral, lymphatic drainage, shiatsu, </a:t>
            </a:r>
            <a:r>
              <a:rPr lang="en-US" sz="2000" dirty="0" err="1"/>
              <a:t>Bodytuning</a:t>
            </a:r>
            <a:r>
              <a:rPr lang="en-US" sz="2000" dirty="0"/>
              <a:t>, Healing Touch, Reiki, and </a:t>
            </a:r>
            <a:r>
              <a:rPr lang="en-US" sz="2000" dirty="0" err="1"/>
              <a:t>Lomi</a:t>
            </a:r>
            <a:r>
              <a:rPr lang="en-US" sz="2000" dirty="0"/>
              <a:t> </a:t>
            </a:r>
            <a:r>
              <a:rPr lang="en-US" sz="2000" dirty="0" err="1"/>
              <a:t>Lomi</a:t>
            </a:r>
            <a:r>
              <a:rPr lang="en-US" sz="2000" dirty="0"/>
              <a:t> 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endParaRPr lang="en-US" sz="20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44" indent="-285744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do not file any insurance for services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but are happy to provide receipt of payment and session notes, if clients want to file for reimbursement with their insurance company. </a:t>
            </a:r>
          </a:p>
          <a:p>
            <a:pPr marL="742932" lvl="1" indent="-285744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recommend the client contact their insurance company prior to scheduling in order to know if their insurance will reimburse for massage and what details the company will require for reimbursement.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6046" y="1614311"/>
            <a:ext cx="7382933" cy="541868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r>
              <a:rPr lang="en-US" sz="2400" b="1" u="sng" dirty="0"/>
              <a:t>How schedule massage at UNC Wellness Center:</a:t>
            </a:r>
            <a:endParaRPr lang="en-US" b="1" u="sng" dirty="0"/>
          </a:p>
          <a:p>
            <a:pPr algn="l"/>
            <a:endParaRPr lang="en-US" b="1" u="sng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4241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423" y="1562024"/>
            <a:ext cx="10585097" cy="3475813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dirty="0"/>
              <a:t>Contact: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sz="2000" b="1" dirty="0"/>
              <a:t>Ginger Clark, LMBT, Yoga Instructor</a:t>
            </a:r>
            <a:br>
              <a:rPr lang="en-US" sz="2000" b="1" dirty="0"/>
            </a:br>
            <a:r>
              <a:rPr lang="en-US" sz="2000" dirty="0">
                <a:solidFill>
                  <a:srgbClr val="00589A"/>
                </a:solidFill>
              </a:rPr>
              <a:t>Massage Therapist</a:t>
            </a:r>
            <a:br>
              <a:rPr lang="en-US" sz="2000" dirty="0">
                <a:solidFill>
                  <a:srgbClr val="00589A"/>
                </a:solidFill>
              </a:rPr>
            </a:br>
            <a:r>
              <a:rPr lang="en-US" sz="2000" dirty="0">
                <a:solidFill>
                  <a:srgbClr val="00589A"/>
                </a:solidFill>
              </a:rPr>
              <a:t>UNC Wellness Centers</a:t>
            </a:r>
            <a:br>
              <a:rPr lang="en-US" sz="2000" dirty="0">
                <a:solidFill>
                  <a:srgbClr val="00589A"/>
                </a:solidFill>
              </a:rPr>
            </a:br>
            <a:r>
              <a:rPr lang="en-US" sz="2000" dirty="0">
                <a:solidFill>
                  <a:srgbClr val="00589A"/>
                </a:solidFill>
              </a:rPr>
              <a:t>(984) 974-2565</a:t>
            </a:r>
            <a:br>
              <a:rPr lang="en-US" sz="2000" dirty="0">
                <a:solidFill>
                  <a:srgbClr val="00589A"/>
                </a:solidFill>
              </a:rPr>
            </a:br>
            <a:r>
              <a:rPr lang="en-US" sz="2000" dirty="0">
                <a:solidFill>
                  <a:srgbClr val="00589A"/>
                </a:solidFill>
                <a:hlinkClick r:id="rId4"/>
              </a:rPr>
              <a:t>ginger.clark@unchealth.unc.edu</a:t>
            </a:r>
            <a:r>
              <a:rPr lang="en-US" sz="2000" dirty="0">
                <a:solidFill>
                  <a:srgbClr val="00589A"/>
                </a:solidFill>
              </a:rPr>
              <a:t> </a:t>
            </a:r>
            <a:br>
              <a:rPr lang="en-US" sz="1600" dirty="0">
                <a:solidFill>
                  <a:srgbClr val="00589A"/>
                </a:solidFill>
              </a:rPr>
            </a:br>
            <a:endParaRPr lang="en-US" sz="1600" dirty="0">
              <a:solidFill>
                <a:srgbClr val="00589A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20680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929BEBAF-894E-41F1-B9BA-BC68F0DB68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00" y="0"/>
            <a:ext cx="121666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008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911627" y="771676"/>
            <a:ext cx="10105777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b="1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Tech, Text, and Zoom</a:t>
            </a:r>
            <a:r>
              <a:rPr lang="en-US" sz="3200" b="1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: </a:t>
            </a:r>
          </a:p>
          <a:p>
            <a:r>
              <a:rPr lang="en-US" sz="3200" b="1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                       </a:t>
            </a:r>
          </a:p>
          <a:p>
            <a:r>
              <a:rPr lang="en-US" sz="3200" b="1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Self care for your sore neck and back</a:t>
            </a:r>
          </a:p>
          <a:p>
            <a:endParaRPr lang="en-US" dirty="0">
              <a:solidFill>
                <a:schemeClr val="accent1">
                  <a:lumMod val="75000"/>
                  <a:lumOff val="25000"/>
                </a:schemeClr>
              </a:solidFill>
            </a:endParaRPr>
          </a:p>
          <a:p>
            <a:r>
              <a:rPr lang="en-US" sz="2000" i="1" dirty="0"/>
              <a:t>Increased work from home or office impacts your passive posture! </a:t>
            </a:r>
          </a:p>
          <a:p>
            <a:endParaRPr lang="en-US" sz="2000" dirty="0"/>
          </a:p>
          <a:p>
            <a:r>
              <a:rPr lang="en-US" sz="2000" dirty="0">
                <a:latin typeface="Candara" panose="020E0502030303020204" pitchFamily="34" charset="0"/>
              </a:rPr>
              <a:t>-learn mindfulness-based techniques</a:t>
            </a:r>
            <a:endParaRPr lang="en-US" sz="2000" dirty="0">
              <a:latin typeface="Candara" panose="020E0502030303020204" pitchFamily="34" charset="0"/>
              <a:ea typeface="Calibri" panose="020F0502020204030204" pitchFamily="34" charset="0"/>
            </a:endParaRPr>
          </a:p>
          <a:p>
            <a:endParaRPr lang="en-US" sz="2000" dirty="0">
              <a:latin typeface="Candara" panose="020E0502030303020204" pitchFamily="34" charset="0"/>
              <a:ea typeface="Calibri" panose="020F0502020204030204" pitchFamily="34" charset="0"/>
            </a:endParaRPr>
          </a:p>
          <a:p>
            <a:r>
              <a:rPr lang="en-US" sz="2000" dirty="0">
                <a:latin typeface="Candara" panose="020E0502030303020204" pitchFamily="34" charset="0"/>
                <a:ea typeface="Calibri" panose="020F0502020204030204" pitchFamily="34" charset="0"/>
              </a:rPr>
              <a:t>-practical movements to relax achy neck and shoulders</a:t>
            </a:r>
          </a:p>
          <a:p>
            <a:endParaRPr lang="en-US" sz="2000" dirty="0">
              <a:latin typeface="Candara" panose="020E0502030303020204" pitchFamily="34" charset="0"/>
              <a:ea typeface="Calibri" panose="020F0502020204030204" pitchFamily="34" charset="0"/>
            </a:endParaRPr>
          </a:p>
          <a:p>
            <a:r>
              <a:rPr lang="en-US" sz="2000" dirty="0">
                <a:latin typeface="Candara" panose="020E0502030303020204" pitchFamily="34" charset="0"/>
                <a:ea typeface="Calibri" panose="020F0502020204030204" pitchFamily="34" charset="0"/>
              </a:rPr>
              <a:t>-tools to use at home</a:t>
            </a:r>
          </a:p>
          <a:p>
            <a:endParaRPr lang="en-US" sz="1600" dirty="0">
              <a:latin typeface="+mj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150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60375" y="917785"/>
            <a:ext cx="6303123" cy="35545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891" indent="-342891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189" algn="l"/>
              </a:tabLst>
            </a:pPr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Sharp or achy pain in the neck and shoulders.</a:t>
            </a:r>
          </a:p>
          <a:p>
            <a:pPr marL="342891" indent="-342891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189" algn="l"/>
              </a:tabLst>
            </a:pPr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Stiffness/tightness in shoulders and neck leading to decreased R.O.M.</a:t>
            </a:r>
          </a:p>
          <a:p>
            <a:pPr marL="342891" indent="-342891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189" algn="l"/>
              </a:tabLst>
            </a:pPr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Intermittent or constant headaches</a:t>
            </a:r>
          </a:p>
          <a:p>
            <a:pPr marL="342891" indent="-342891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189" algn="l"/>
              </a:tabLst>
            </a:pPr>
            <a:r>
              <a:rPr lang="en-US" sz="2000" dirty="0"/>
              <a:t>Temporomandibular joint (TMJ) problems — pain or dysfunction in the jaw joints and muscles</a:t>
            </a:r>
            <a:endParaRPr lang="en-US" sz="2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891" indent="-342891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189" algn="l"/>
              </a:tabLst>
            </a:pPr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Nerve pain with tingling and numbness in the upper limbs</a:t>
            </a:r>
          </a:p>
          <a:p>
            <a:pPr marL="342891" indent="-342891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189" algn="l"/>
              </a:tabLst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ye fatigue</a:t>
            </a:r>
          </a:p>
        </p:txBody>
      </p:sp>
      <p:pic>
        <p:nvPicPr>
          <p:cNvPr id="2050" name="Picture 2" descr="Neck Pain Pictures | Download Free Images on Unsplas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2506201"/>
            <a:ext cx="4191000" cy="3724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4" descr="53,122 Strain Stock Photos - Free &amp; Royalty-Free Stock Photos from  Dreamstime"/>
          <p:cNvSpPr>
            <a:spLocks noChangeAspect="1" noChangeArrowheads="1"/>
          </p:cNvSpPr>
          <p:nvPr/>
        </p:nvSpPr>
        <p:spPr bwMode="auto">
          <a:xfrm>
            <a:off x="155575" y="-144462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54" name="Picture 6" descr="52,172 Tired Eyes Stock Photos, Pictures &amp; Royalty-Free Images - iStoc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630" y="3926774"/>
            <a:ext cx="3909059" cy="2606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8A75C96-649D-4545-A6CC-C22154DFAEE0}"/>
              </a:ext>
            </a:extLst>
          </p:cNvPr>
          <p:cNvSpPr txBox="1"/>
          <p:nvPr/>
        </p:nvSpPr>
        <p:spPr>
          <a:xfrm>
            <a:off x="554877" y="378487"/>
            <a:ext cx="11731625" cy="943632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r>
              <a:rPr lang="en-US" sz="2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me signs and symptoms of text neck syndrome include:</a:t>
            </a:r>
            <a:endParaRPr lang="en-US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endParaRPr lang="en-US" sz="2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6792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Relaxing Ocean Wallpapers - Top Free Relaxing Ocean Backgrounds -  WallpaperAcces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3" y="196429"/>
            <a:ext cx="11069088" cy="622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720436" y="522295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/>
          </a:p>
          <a:p>
            <a:r>
              <a:rPr lang="en-US" sz="3200" b="1" dirty="0">
                <a:solidFill>
                  <a:schemeClr val="accent1"/>
                </a:solidFill>
                <a:latin typeface="Candara" panose="020E0502030303020204" pitchFamily="34" charset="0"/>
              </a:rPr>
              <a:t>Mindfulness-Based Techniques</a:t>
            </a:r>
            <a:endParaRPr lang="en-US" sz="3200" b="1" dirty="0">
              <a:solidFill>
                <a:schemeClr val="accent1"/>
              </a:solidFill>
              <a:latin typeface="Candara" panose="020E0502030303020204" pitchFamily="34" charset="0"/>
              <a:ea typeface="Calibri" panose="020F0502020204030204" pitchFamily="34" charset="0"/>
            </a:endParaRPr>
          </a:p>
          <a:p>
            <a:endParaRPr lang="en-US" dirty="0">
              <a:latin typeface="Candara" panose="020E0502030303020204" pitchFamily="34" charset="0"/>
              <a:ea typeface="Calibri" panose="020F0502020204030204" pitchFamily="34" charset="0"/>
            </a:endParaRPr>
          </a:p>
          <a:p>
            <a:endParaRPr lang="en-US" sz="1600" dirty="0">
              <a:latin typeface="+mj-lt"/>
              <a:ea typeface="Calibri" panose="020F0502020204030204" pitchFamily="34" charset="0"/>
            </a:endParaRPr>
          </a:p>
        </p:txBody>
      </p:sp>
      <p:pic>
        <p:nvPicPr>
          <p:cNvPr id="4" name="Picture 4" descr="Vision therapy: Eye exercises for keeping your eyes strong and healthy |  IrisTech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0230" y="2554955"/>
            <a:ext cx="2437996" cy="173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:\Users\u42898\AppData\Local\Microsoft\Windows\INetCache\Content.MSO\30ECFD7.tmp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436" y="2381503"/>
            <a:ext cx="2858925" cy="208348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6" descr="Hand on chest Vectors &amp; Illustrations for Free Download | Freepik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137" y="2816750"/>
            <a:ext cx="2949569" cy="2949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48719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alm Colors | Picture Day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" t="-9703" r="-1693" b="9703"/>
          <a:stretch/>
        </p:blipFill>
        <p:spPr bwMode="auto">
          <a:xfrm>
            <a:off x="167951" y="-608731"/>
            <a:ext cx="10752039" cy="7397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Free Images : watch, work, person, wood, clock, building, wall, sadness ...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2655" y="2738571"/>
            <a:ext cx="4800600" cy="3238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/>
          <p:nvPr/>
        </p:nvSpPr>
        <p:spPr>
          <a:xfrm>
            <a:off x="1561172" y="2738571"/>
            <a:ext cx="4144748" cy="2899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Candara" panose="020E0502030303020204" pitchFamily="34" charset="0"/>
                <a:ea typeface="Calibri" panose="020F0502020204030204" pitchFamily="34" charset="0"/>
              </a:rPr>
              <a:t>Prevent Eyestrain</a:t>
            </a:r>
          </a:p>
          <a:p>
            <a:pPr>
              <a:lnSpc>
                <a:spcPct val="107000"/>
              </a:lnSpc>
            </a:pPr>
            <a:endParaRPr lang="en-US" sz="2000" b="1" kern="1800" dirty="0">
              <a:solidFill>
                <a:srgbClr val="0F0F0F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2400" b="1" kern="18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~adjust lighting</a:t>
            </a:r>
          </a:p>
          <a:p>
            <a:pPr>
              <a:lnSpc>
                <a:spcPct val="107000"/>
              </a:lnSpc>
            </a:pPr>
            <a:r>
              <a:rPr lang="en-US" sz="2400" b="1" kern="18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~change dress code</a:t>
            </a:r>
          </a:p>
          <a:p>
            <a:pPr>
              <a:lnSpc>
                <a:spcPct val="107000"/>
              </a:lnSpc>
            </a:pPr>
            <a:r>
              <a:rPr lang="en-US" sz="2400" b="1" kern="18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~use the 20/20/20 rule</a:t>
            </a:r>
          </a:p>
          <a:p>
            <a:endParaRPr lang="en-US" sz="2800" dirty="0">
              <a:solidFill>
                <a:schemeClr val="accent1"/>
              </a:solidFill>
              <a:latin typeface="Candara" panose="020E0502030303020204" pitchFamily="34" charset="0"/>
              <a:ea typeface="Calibri" panose="020F0502020204030204" pitchFamily="34" charset="0"/>
            </a:endParaRPr>
          </a:p>
          <a:p>
            <a:endParaRPr lang="en-US" sz="2800" dirty="0">
              <a:latin typeface="Candara" panose="020E0502030303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08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20435" y="522296"/>
            <a:ext cx="801097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Hydration</a:t>
            </a:r>
          </a:p>
          <a:p>
            <a:r>
              <a:rPr lang="en-US" sz="2000" dirty="0">
                <a:solidFill>
                  <a:schemeClr val="accent1"/>
                </a:solidFill>
              </a:rPr>
              <a:t>Drink water and hot tea as a remedy for vocal strain and to help relax ~</a:t>
            </a:r>
            <a:endParaRPr lang="en-US" sz="2000" dirty="0">
              <a:solidFill>
                <a:schemeClr val="accent1"/>
              </a:solidFill>
              <a:latin typeface="Candara" panose="020E0502030303020204" pitchFamily="34" charset="0"/>
              <a:ea typeface="Calibri" panose="020F0502020204030204" pitchFamily="34" charset="0"/>
            </a:endParaRPr>
          </a:p>
          <a:p>
            <a:endParaRPr lang="en-US" sz="1600" dirty="0">
              <a:latin typeface="+mj-lt"/>
              <a:ea typeface="Calibri" panose="020F0502020204030204" pitchFamily="34" charset="0"/>
            </a:endParaRPr>
          </a:p>
        </p:txBody>
      </p:sp>
      <p:pic>
        <p:nvPicPr>
          <p:cNvPr id="5122" name="Picture 2" descr="Tea Hot Drink Stock Photos, Pictures &amp; Royalty-Free Images - iStoc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958" y="2471970"/>
            <a:ext cx="5829300" cy="3886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0174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20436" y="522295"/>
            <a:ext cx="6096000" cy="104644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/>
          </a:p>
          <a:p>
            <a:r>
              <a:rPr lang="en-US" sz="2800" b="1" dirty="0">
                <a:solidFill>
                  <a:schemeClr val="accent1"/>
                </a:solidFill>
                <a:latin typeface="Candara" panose="020E0502030303020204" pitchFamily="34" charset="0"/>
                <a:ea typeface="Calibri" panose="020F0502020204030204" pitchFamily="34" charset="0"/>
              </a:rPr>
              <a:t>Practical Movements</a:t>
            </a:r>
            <a:endParaRPr lang="en-US" sz="2800" b="1" dirty="0">
              <a:latin typeface="Candara" panose="020E0502030303020204" pitchFamily="34" charset="0"/>
              <a:ea typeface="Calibri" panose="020F0502020204030204" pitchFamily="34" charset="0"/>
            </a:endParaRPr>
          </a:p>
          <a:p>
            <a:endParaRPr lang="en-US" sz="1600" dirty="0">
              <a:latin typeface="+mj-lt"/>
              <a:ea typeface="Calibri" panose="020F0502020204030204" pitchFamily="34" charset="0"/>
            </a:endParaRPr>
          </a:p>
        </p:txBody>
      </p:sp>
      <p:pic>
        <p:nvPicPr>
          <p:cNvPr id="3" name="Picture 2" descr="File:Levator scapulae muscle back.png - Wikimedia Commons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58" y="2772642"/>
            <a:ext cx="3390900" cy="33909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4477575" y="2772643"/>
            <a:ext cx="5904209" cy="26491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2800" b="1" kern="1800" dirty="0">
                <a:solidFill>
                  <a:srgbClr val="0F0F0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~Counter poses</a:t>
            </a:r>
          </a:p>
          <a:p>
            <a:pPr>
              <a:lnSpc>
                <a:spcPct val="107000"/>
              </a:lnSpc>
            </a:pPr>
            <a:r>
              <a:rPr lang="en-US" sz="2800" b="1" kern="1800" dirty="0">
                <a:solidFill>
                  <a:srgbClr val="0F0F0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~Dynamic movements</a:t>
            </a:r>
          </a:p>
          <a:p>
            <a:pPr>
              <a:lnSpc>
                <a:spcPct val="107000"/>
              </a:lnSpc>
            </a:pPr>
            <a:r>
              <a:rPr lang="en-US" sz="2800" b="1" kern="1800" dirty="0">
                <a:solidFill>
                  <a:srgbClr val="0F0F0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~Seated </a:t>
            </a:r>
            <a:r>
              <a:rPr lang="en-US" sz="2800" b="1" kern="1800" dirty="0" err="1">
                <a:solidFill>
                  <a:srgbClr val="0F0F0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ator</a:t>
            </a:r>
            <a:r>
              <a:rPr lang="en-US" sz="2800" b="1" kern="1800" dirty="0">
                <a:solidFill>
                  <a:srgbClr val="0F0F0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capulae Stretch</a:t>
            </a:r>
          </a:p>
          <a:p>
            <a:pPr>
              <a:lnSpc>
                <a:spcPct val="107000"/>
              </a:lnSpc>
            </a:pPr>
            <a:r>
              <a:rPr lang="en-US" sz="2800" b="1" kern="1800" dirty="0">
                <a:solidFill>
                  <a:srgbClr val="0F0F0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~Shoulder slowly raised</a:t>
            </a:r>
          </a:p>
          <a:p>
            <a:pPr>
              <a:lnSpc>
                <a:spcPct val="107000"/>
              </a:lnSpc>
            </a:pPr>
            <a:r>
              <a:rPr lang="en-US" sz="2800" b="1" kern="1800" dirty="0">
                <a:solidFill>
                  <a:srgbClr val="0F0F0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~Movement for the jaw</a:t>
            </a:r>
          </a:p>
          <a:p>
            <a:pPr>
              <a:lnSpc>
                <a:spcPct val="107000"/>
              </a:lnSpc>
            </a:pPr>
            <a:endParaRPr lang="en-US" sz="1600" b="1" kern="0" dirty="0">
              <a:solidFill>
                <a:srgbClr val="2E74B5"/>
              </a:solidFill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88398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63147" y="414885"/>
            <a:ext cx="6261849" cy="29302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800" b="1" dirty="0">
                <a:solidFill>
                  <a:srgbClr val="00B0F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pical Pain Relief</a:t>
            </a:r>
            <a:endParaRPr lang="en-US" sz="2800" b="1" dirty="0">
              <a:solidFill>
                <a:srgbClr val="00B0F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dirty="0" err="1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iofreeze</a:t>
            </a:r>
            <a:r>
              <a:rPr lang="en-US" sz="2400" dirty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tive Ingredients: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nthol USP 5%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dirty="0" err="1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xfreeze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ctive Ingredients: Menthol (7 %)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800" dirty="0">
                <a:solidFill>
                  <a:srgbClr val="00B0F0"/>
                </a:solidFill>
                <a:latin typeface="Foco Regular"/>
                <a:ea typeface="Times New Roman" panose="02020603050405020304" pitchFamily="18" charset="0"/>
                <a:cs typeface="Times New Roman" panose="02020603050405020304" pitchFamily="18" charset="0"/>
              </a:rPr>
              <a:t>Thai Herbal Massage Balm</a:t>
            </a:r>
            <a:endParaRPr lang="en-US" sz="1200" dirty="0">
              <a:solidFill>
                <a:srgbClr val="00B0F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 descr="Zim's Max Freeze Maximum Pain Relief Pro Formula Gel, 4 Oz - Walmart.com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1973" y="277091"/>
            <a:ext cx="3810000" cy="381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Amazon.com: Biofreeze Pain Relief Gel, 4 oz. Tube (Packaging May Vary) :  Health &amp; Household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3282" y="546410"/>
            <a:ext cx="1156542" cy="2695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Thai Herbal Massage Balm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53" y="3782725"/>
            <a:ext cx="3822700" cy="28670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4314989" y="5216237"/>
            <a:ext cx="77406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C00000"/>
                </a:solidFill>
                <a:latin typeface="Open Sans"/>
              </a:rPr>
              <a:t>Ingredients: Sesame Oil, Clove, Turmeric, </a:t>
            </a:r>
            <a:r>
              <a:rPr lang="en-US" dirty="0" err="1">
                <a:solidFill>
                  <a:srgbClr val="C00000"/>
                </a:solidFill>
                <a:latin typeface="Open Sans"/>
              </a:rPr>
              <a:t>Plai</a:t>
            </a:r>
            <a:r>
              <a:rPr lang="en-US" dirty="0">
                <a:solidFill>
                  <a:srgbClr val="C00000"/>
                </a:solidFill>
                <a:latin typeface="Open Sans"/>
              </a:rPr>
              <a:t>, Camphor, Eucalyptus, and </a:t>
            </a:r>
            <a:r>
              <a:rPr lang="en-US" dirty="0" err="1">
                <a:solidFill>
                  <a:srgbClr val="C00000"/>
                </a:solidFill>
                <a:latin typeface="Open Sans"/>
              </a:rPr>
              <a:t>Menthyl</a:t>
            </a:r>
            <a:r>
              <a:rPr lang="en-US" dirty="0">
                <a:solidFill>
                  <a:srgbClr val="C00000"/>
                </a:solidFill>
                <a:latin typeface="Open Sans"/>
              </a:rPr>
              <a:t> salicylate.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314990" y="4749343"/>
            <a:ext cx="58913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livingsabai.com/shop/thai-herbal-massage-balm/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33807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1252" y="413224"/>
            <a:ext cx="6096000" cy="104644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/>
          </a:p>
          <a:p>
            <a:r>
              <a:rPr lang="en-US" sz="2800" b="1" dirty="0">
                <a:solidFill>
                  <a:schemeClr val="accent1"/>
                </a:solidFill>
                <a:latin typeface="Candara" panose="020E0502030303020204" pitchFamily="34" charset="0"/>
                <a:ea typeface="Calibri" panose="020F0502020204030204" pitchFamily="34" charset="0"/>
              </a:rPr>
              <a:t>Tools to use at Home</a:t>
            </a:r>
          </a:p>
          <a:p>
            <a:endParaRPr lang="en-US" sz="1600" dirty="0">
              <a:latin typeface="+mj-lt"/>
              <a:ea typeface="Calibri" panose="020F0502020204030204" pitchFamily="34" charset="0"/>
            </a:endParaRPr>
          </a:p>
        </p:txBody>
      </p:sp>
      <p:pic>
        <p:nvPicPr>
          <p:cNvPr id="3" name="Picture 2" descr="https://m.media-amazon.com/images/I/81o9RGVqkcL._AC_SL1500_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7271" y="2553654"/>
            <a:ext cx="2297431" cy="37623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https://m.media-amazon.com/images/I/51Yb3SIbP6L._AC_SL1200_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7216" y="2616287"/>
            <a:ext cx="1685291" cy="283908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6518372" y="5761721"/>
            <a:ext cx="2331279" cy="4070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ra Cane </a:t>
            </a:r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ssager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Product Image 1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0999" y="4350193"/>
            <a:ext cx="2400300" cy="180022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ProStretch Addaday Junior+ Handheld Massage Roller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139" y="3326255"/>
            <a:ext cx="2047875" cy="20478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/>
        </p:nvSpPr>
        <p:spPr>
          <a:xfrm>
            <a:off x="430826" y="2286233"/>
            <a:ext cx="3385603" cy="8389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0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Stretch</a:t>
            </a:r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daday</a:t>
            </a:r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Junior+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ndheld Massage Roller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499252" y="3842679"/>
            <a:ext cx="26361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err="1">
                <a:latin typeface="Calibri" panose="020F0502020204030204" pitchFamily="34" charset="0"/>
                <a:ea typeface="Calibri" panose="020F0502020204030204" pitchFamily="34" charset="0"/>
              </a:rPr>
              <a:t>Addaday</a:t>
            </a:r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</a:rPr>
              <a:t> Marble Roller</a:t>
            </a:r>
            <a:endParaRPr lang="en-US" sz="2000" dirty="0"/>
          </a:p>
        </p:txBody>
      </p:sp>
      <p:pic>
        <p:nvPicPr>
          <p:cNvPr id="10" name="Picture 9" descr="SureFoot Foot Rubz | Sole Sports Running Zone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065" y="535685"/>
            <a:ext cx="2861656" cy="17742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Surefoot Foot Rubz Foot Massager | SCHEELS.com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207" y="423949"/>
            <a:ext cx="1911928" cy="188598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6308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42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yAV1CHWRtCAewGcCm6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UNCH 1">
      <a:dk1>
        <a:srgbClr val="000000"/>
      </a:dk1>
      <a:lt1>
        <a:srgbClr val="FFFFFF"/>
      </a:lt1>
      <a:dk2>
        <a:srgbClr val="515151"/>
      </a:dk2>
      <a:lt2>
        <a:srgbClr val="FFFFFF"/>
      </a:lt2>
      <a:accent1>
        <a:srgbClr val="004163"/>
      </a:accent1>
      <a:accent2>
        <a:srgbClr val="4B9CD3"/>
      </a:accent2>
      <a:accent3>
        <a:srgbClr val="CFF000"/>
      </a:accent3>
      <a:accent4>
        <a:srgbClr val="F52CA8"/>
      </a:accent4>
      <a:accent5>
        <a:srgbClr val="89E8A2"/>
      </a:accent5>
      <a:accent6>
        <a:srgbClr val="5FD7E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73152" rIns="0" bIns="0" rtlCol="0">
        <a:normAutofit/>
      </a:bodyPr>
      <a:lstStyle>
        <a:defPPr algn="l">
          <a:defRPr sz="16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ch_ppt_16x9_200222" id="{BE8ADAFA-0F54-3845-9A9A-4FDFC880D79F}" vid="{53BD47F0-7C20-C348-B55B-F1FFFC36DD9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UNCH 1">
      <a:dk1>
        <a:srgbClr val="000000"/>
      </a:dk1>
      <a:lt1>
        <a:srgbClr val="FFFFFF"/>
      </a:lt1>
      <a:dk2>
        <a:srgbClr val="515151"/>
      </a:dk2>
      <a:lt2>
        <a:srgbClr val="FFFFFF"/>
      </a:lt2>
      <a:accent1>
        <a:srgbClr val="004163"/>
      </a:accent1>
      <a:accent2>
        <a:srgbClr val="4B9CD3"/>
      </a:accent2>
      <a:accent3>
        <a:srgbClr val="CFF000"/>
      </a:accent3>
      <a:accent4>
        <a:srgbClr val="F52CA8"/>
      </a:accent4>
      <a:accent5>
        <a:srgbClr val="89E8A2"/>
      </a:accent5>
      <a:accent6>
        <a:srgbClr val="5FD7E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73152" rIns="0" bIns="0" rtlCol="0">
        <a:normAutofit/>
      </a:bodyPr>
      <a:lstStyle>
        <a:defPPr algn="l">
          <a:defRPr sz="16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ch_ppt_16x9_200429" id="{E1065C6E-8BE6-1446-8DF7-135AD08CD9BA}" vid="{B984B1A8-ECDB-FE44-863D-472AEB6075D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F3139967B30B4E871979351FCBE86A" ma:contentTypeVersion="5" ma:contentTypeDescription="Create a new document." ma:contentTypeScope="" ma:versionID="5f7f533eef200b093c373aab4518689d">
  <xsd:schema xmlns:xsd="http://www.w3.org/2001/XMLSchema" xmlns:xs="http://www.w3.org/2001/XMLSchema" xmlns:p="http://schemas.microsoft.com/office/2006/metadata/properties" xmlns:ns3="c1e89aa4-315c-4a2c-a66a-fb80a27d63ef" xmlns:ns4="20e864d8-24dc-42ea-8a45-546d35a2b048" targetNamespace="http://schemas.microsoft.com/office/2006/metadata/properties" ma:root="true" ma:fieldsID="b44a8f5abfda2a78e47526e004111659" ns3:_="" ns4:_="">
    <xsd:import namespace="c1e89aa4-315c-4a2c-a66a-fb80a27d63ef"/>
    <xsd:import namespace="20e864d8-24dc-42ea-8a45-546d35a2b04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e89aa4-315c-4a2c-a66a-fb80a27d63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e864d8-24dc-42ea-8a45-546d35a2b04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693318-0C33-4A89-9096-11AA1A74C1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e89aa4-315c-4a2c-a66a-fb80a27d63ef"/>
    <ds:schemaRef ds:uri="20e864d8-24dc-42ea-8a45-546d35a2b0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7C0B370-03DB-4BD6-AD7D-77A08E4E550B}">
  <ds:schemaRefs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20e864d8-24dc-42ea-8a45-546d35a2b048"/>
    <ds:schemaRef ds:uri="http://schemas.openxmlformats.org/package/2006/metadata/core-properties"/>
    <ds:schemaRef ds:uri="c1e89aa4-315c-4a2c-a66a-fb80a27d63ef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8F29228-4EA7-449C-BE63-19E1750325D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403</TotalTime>
  <Words>476</Words>
  <Application>Microsoft Office PowerPoint</Application>
  <PresentationFormat>Widescreen</PresentationFormat>
  <Paragraphs>64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rial</vt:lpstr>
      <vt:lpstr>Arial Unicode MS</vt:lpstr>
      <vt:lpstr>Calibri</vt:lpstr>
      <vt:lpstr>Calibri Light</vt:lpstr>
      <vt:lpstr>Candara</vt:lpstr>
      <vt:lpstr>Foco Regular</vt:lpstr>
      <vt:lpstr>Open Sans</vt:lpstr>
      <vt:lpstr>Symbol</vt:lpstr>
      <vt:lpstr>System Font Regular</vt:lpstr>
      <vt:lpstr>1_Office Theme</vt:lpstr>
      <vt:lpstr>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ferrals &amp; Insurance</vt:lpstr>
      <vt:lpstr>Contact:   Ginger Clark, LMBT, Yoga Instructor Massage Therapist UNC Wellness Centers (984) 974-2565 ginger.clark@unchealth.unc.edu  </vt:lpstr>
      <vt:lpstr>PowerPoint Presentation</vt:lpstr>
    </vt:vector>
  </TitlesOfParts>
  <Company>UNC Health Ca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CMC Support Services COVID Response</dc:title>
  <dc:creator>Igdal, Nadine</dc:creator>
  <cp:lastModifiedBy>Pyjas, Jessica</cp:lastModifiedBy>
  <cp:revision>345</cp:revision>
  <cp:lastPrinted>2020-09-25T22:14:32Z</cp:lastPrinted>
  <dcterms:created xsi:type="dcterms:W3CDTF">2020-04-02T17:22:29Z</dcterms:created>
  <dcterms:modified xsi:type="dcterms:W3CDTF">2023-03-14T04:1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677EC2A-E293-4ACF-B1AF-8D25E77E49F9</vt:lpwstr>
  </property>
  <property fmtid="{D5CDD505-2E9C-101B-9397-08002B2CF9AE}" pid="3" name="ArticulatePath">
    <vt:lpwstr>Virtual Table Top 1 Shared Services SharePoint JMB Edits (002)</vt:lpwstr>
  </property>
  <property fmtid="{D5CDD505-2E9C-101B-9397-08002B2CF9AE}" pid="4" name="ContentTypeId">
    <vt:lpwstr>0x010100EBF3139967B30B4E871979351FCBE86A</vt:lpwstr>
  </property>
</Properties>
</file>